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809" r:id="rId2"/>
    <p:sldId id="870" r:id="rId3"/>
    <p:sldId id="867" r:id="rId4"/>
    <p:sldId id="858" r:id="rId5"/>
    <p:sldId id="857" r:id="rId6"/>
    <p:sldId id="860" r:id="rId7"/>
    <p:sldId id="861" r:id="rId8"/>
    <p:sldId id="862" r:id="rId9"/>
    <p:sldId id="863" r:id="rId10"/>
    <p:sldId id="864" r:id="rId11"/>
    <p:sldId id="850" r:id="rId12"/>
    <p:sldId id="869" r:id="rId13"/>
    <p:sldId id="868" r:id="rId14"/>
    <p:sldId id="814" r:id="rId15"/>
  </p:sldIdLst>
  <p:sldSz cx="12192000" cy="6858000"/>
  <p:notesSz cx="7315200" cy="9601200"/>
  <p:custDataLst>
    <p:tags r:id="rId18"/>
  </p:custDataLst>
  <p:defaultTextStyle>
    <a:defPPr>
      <a:defRPr lang="en-US"/>
    </a:defPPr>
    <a:lvl1pPr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1pPr>
    <a:lvl2pPr marL="4572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2pPr>
    <a:lvl3pPr marL="9144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3pPr>
    <a:lvl4pPr marL="13716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4pPr>
    <a:lvl5pPr marL="18288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orient="horz" pos="4020" userDrawn="1">
          <p15:clr>
            <a:srgbClr val="A4A3A4"/>
          </p15:clr>
        </p15:guide>
        <p15:guide id="5" pos="7582" userDrawn="1">
          <p15:clr>
            <a:srgbClr val="A4A3A4"/>
          </p15:clr>
        </p15:guide>
        <p15:guide id="11" pos="211">
          <p15:clr>
            <a:srgbClr val="A4A3A4"/>
          </p15:clr>
        </p15:guide>
        <p15:guide id="15" pos="3840">
          <p15:clr>
            <a:srgbClr val="A4A3A4"/>
          </p15:clr>
        </p15:guide>
        <p15:guide id="18" pos="3931">
          <p15:clr>
            <a:srgbClr val="A4A3A4"/>
          </p15:clr>
        </p15:guide>
        <p15:guide id="19" pos="37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rau Mädler, Karin" initials="FMK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8DB9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00" autoAdjust="0"/>
    <p:restoredTop sz="94635" autoAdjust="0"/>
  </p:normalViewPr>
  <p:slideViewPr>
    <p:cSldViewPr showGuides="1">
      <p:cViewPr varScale="1">
        <p:scale>
          <a:sx n="73" d="100"/>
          <a:sy n="73" d="100"/>
        </p:scale>
        <p:origin x="192" y="72"/>
      </p:cViewPr>
      <p:guideLst>
        <p:guide orient="horz" pos="935"/>
        <p:guide orient="horz" pos="4020"/>
        <p:guide pos="7582"/>
        <p:guide pos="211"/>
        <p:guide pos="3840"/>
        <p:guide pos="3931"/>
        <p:guide pos="3749"/>
      </p:guideLst>
    </p:cSldViewPr>
  </p:slideViewPr>
  <p:outlineViewPr>
    <p:cViewPr>
      <p:scale>
        <a:sx n="33" d="100"/>
        <a:sy n="33" d="100"/>
      </p:scale>
      <p:origin x="0" y="-3762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128" d="100"/>
          <a:sy n="128" d="100"/>
        </p:scale>
        <p:origin x="4134" y="132"/>
      </p:cViewPr>
      <p:guideLst>
        <p:guide orient="horz" pos="3024"/>
        <p:guide pos="23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1"/>
            <a:ext cx="3170261" cy="479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11" tIns="45405" rIns="90811" bIns="45405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100"/>
            </a:lvl1pPr>
          </a:lstStyle>
          <a:p>
            <a:endParaRPr lang="de-DE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942" y="1"/>
            <a:ext cx="3170261" cy="479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11" tIns="45405" rIns="90811" bIns="4540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/>
            </a:lvl1pPr>
          </a:lstStyle>
          <a:p>
            <a:endParaRPr lang="de-DE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5" y="9120375"/>
            <a:ext cx="3170261" cy="480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11" tIns="45405" rIns="90811" bIns="45405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100"/>
            </a:lvl1pPr>
          </a:lstStyle>
          <a:p>
            <a:endParaRPr lang="de-DE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942" y="9120375"/>
            <a:ext cx="3170261" cy="480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11" tIns="45405" rIns="90811" bIns="4540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/>
            </a:lvl1pPr>
          </a:lstStyle>
          <a:p>
            <a:fld id="{857A7E1D-5408-4D3E-A25E-60444F061665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6948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1"/>
            <a:ext cx="3170261" cy="479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11" tIns="45405" rIns="90811" bIns="45405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100"/>
            </a:lvl1pPr>
          </a:lstStyle>
          <a:p>
            <a:endParaRPr lang="de-DE" dirty="0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4942" y="1"/>
            <a:ext cx="3170261" cy="479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11" tIns="45405" rIns="90811" bIns="4540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/>
            </a:lvl1pPr>
          </a:lstStyle>
          <a:p>
            <a:endParaRPr lang="de-DE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8788" y="720725"/>
            <a:ext cx="6397625" cy="3598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74679" y="4560957"/>
            <a:ext cx="5365848" cy="4319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120375"/>
            <a:ext cx="3170261" cy="480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11" tIns="45405" rIns="90811" bIns="45405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100"/>
            </a:lvl1pPr>
          </a:lstStyle>
          <a:p>
            <a:endParaRPr lang="de-DE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942" y="9120375"/>
            <a:ext cx="3170261" cy="480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11" tIns="45405" rIns="90811" bIns="4540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/>
            </a:lvl1pPr>
          </a:lstStyle>
          <a:p>
            <a:fld id="{534ECE63-F59B-45E1-8290-295EDE13855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3544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73050" indent="-273050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b="0" kern="1200" baseline="0">
        <a:solidFill>
          <a:schemeClr val="tx1"/>
        </a:solidFill>
        <a:latin typeface="LindeDaxPowerPoint" pitchFamily="34" charset="0"/>
        <a:ea typeface="+mn-ea"/>
        <a:cs typeface="+mn-cs"/>
      </a:defRPr>
    </a:lvl1pPr>
    <a:lvl2pPr marL="536575" indent="-263525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2pPr>
    <a:lvl3pPr marL="809625" indent="-273050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3pPr>
    <a:lvl4pPr marL="1071563" indent="-261938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4pPr>
    <a:lvl5pPr marL="1344613" indent="-273050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25446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7787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4809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034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414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248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561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12560">
              <a:defRPr sz="1600" b="1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744" indent="-285669" defTabSz="91256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2684" indent="-228536" defTabSz="91256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599758" indent="-228536" defTabSz="91256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6831" indent="-228536" defTabSz="91256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3905" indent="-228536" defTabSz="91256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0980" indent="-228536" defTabSz="91256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8052" indent="-228536" defTabSz="91256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5126" indent="-228536" defTabSz="91256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fld id="{89E82A58-8649-4CFB-BF9D-C59ADFE2BFC8}" type="slidenum">
              <a:rPr lang="en-US" altLang="de-DE" sz="1200" b="0"/>
              <a:pPr/>
              <a:t>3</a:t>
            </a:fld>
            <a:endParaRPr lang="en-US" altLang="de-DE" sz="1200" b="0" dirty="0"/>
          </a:p>
        </p:txBody>
      </p:sp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4184302" y="9176368"/>
            <a:ext cx="3198136" cy="483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48" tIns="45723" rIns="91448" bIns="45723" anchor="b"/>
          <a:lstStyle>
            <a:lvl1pPr defTabSz="947738">
              <a:defRPr sz="1600" b="1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/>
            <a:fld id="{E711E46E-A8F8-458A-B112-FF8D847FD3F4}" type="slidenum">
              <a:rPr lang="en-US" altLang="de-DE" sz="1200" b="0"/>
              <a:pPr algn="r" eaLnBrk="1" hangingPunct="1"/>
              <a:t>3</a:t>
            </a:fld>
            <a:endParaRPr lang="en-US" altLang="de-DE" sz="1200" b="0" dirty="0"/>
          </a:p>
        </p:txBody>
      </p:sp>
      <p:sp>
        <p:nvSpPr>
          <p:cNvPr id="537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7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tabLst/>
              <a:defRPr/>
            </a:pPr>
            <a:endParaRPr lang="en-US" dirty="0"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4306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929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0224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12560">
              <a:defRPr sz="1600" b="1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744" indent="-285669" defTabSz="91256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2684" indent="-228536" defTabSz="91256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599758" indent="-228536" defTabSz="91256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6831" indent="-228536" defTabSz="91256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3905" indent="-228536" defTabSz="91256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0980" indent="-228536" defTabSz="91256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8052" indent="-228536" defTabSz="91256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5126" indent="-228536" defTabSz="91256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fld id="{89E82A58-8649-4CFB-BF9D-C59ADFE2BFC8}" type="slidenum">
              <a:rPr lang="en-US" altLang="de-DE" sz="1200" b="0"/>
              <a:pPr/>
              <a:t>6</a:t>
            </a:fld>
            <a:endParaRPr lang="en-US" altLang="de-DE" sz="1200" b="0" dirty="0"/>
          </a:p>
        </p:txBody>
      </p:sp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4184302" y="9176368"/>
            <a:ext cx="3198136" cy="483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48" tIns="45723" rIns="91448" bIns="45723" anchor="b"/>
          <a:lstStyle>
            <a:lvl1pPr defTabSz="947738">
              <a:defRPr sz="1600" b="1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/>
            <a:fld id="{E711E46E-A8F8-458A-B112-FF8D847FD3F4}" type="slidenum">
              <a:rPr lang="en-US" altLang="de-DE" sz="1200" b="0"/>
              <a:pPr algn="r" eaLnBrk="1" hangingPunct="1"/>
              <a:t>6</a:t>
            </a:fld>
            <a:endParaRPr lang="en-US" altLang="de-DE" sz="1200" b="0" dirty="0"/>
          </a:p>
        </p:txBody>
      </p:sp>
      <p:sp>
        <p:nvSpPr>
          <p:cNvPr id="537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7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tabLst/>
              <a:defRPr/>
            </a:pPr>
            <a:endParaRPr lang="en-US" dirty="0"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300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1061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7372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962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96000" y="1700808"/>
            <a:ext cx="11461038" cy="182605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00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96000" y="4001814"/>
            <a:ext cx="11461038" cy="237993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spcAft>
                <a:spcPct val="0"/>
              </a:spcAft>
              <a:buNone/>
              <a:tabLst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18D12CD-4717-4B26-83DF-3407BEDF23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6204" y="404812"/>
            <a:ext cx="2337898" cy="133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5786" y="1484313"/>
            <a:ext cx="7681251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55574" y="152401"/>
            <a:ext cx="9685339" cy="1022400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3648803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7AD82DE6-5D34-47F2-B00E-0C57BA54A41A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752302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40463" y="1484784"/>
            <a:ext cx="5616575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55576" y="152401"/>
            <a:ext cx="9685338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D0F7709-283F-4D56-B5AB-B3CA12F8F170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40463" y="4004642"/>
            <a:ext cx="5616575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50573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334963" y="3429003"/>
            <a:ext cx="11522075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2489C0D-99B1-4D43-B579-E389C5162506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75388" y="1484313"/>
            <a:ext cx="5581650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9078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96000" y="3860626"/>
            <a:ext cx="11461038" cy="140457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00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96000" y="5409220"/>
            <a:ext cx="7643358" cy="97253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spcAft>
                <a:spcPct val="0"/>
              </a:spcAft>
              <a:buNone/>
              <a:tabLst/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7EAF24E-8B37-49F2-8189-D22169D18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6204" y="5121336"/>
            <a:ext cx="2337898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72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55575" y="152401"/>
            <a:ext cx="9828213" cy="1008062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8C8DC71-C751-4A58-A94D-438542EF14A4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55575" y="1341439"/>
            <a:ext cx="1188085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306823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DC224F0-3372-4217-97A4-056075D7D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8350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5" name="think-cell Folie" r:id="rId4" imgW="445" imgH="446" progId="TCLayout.ActiveDocument.1">
                  <p:embed/>
                </p:oleObj>
              </mc:Choice>
              <mc:Fallback>
                <p:oleObj name="think-cell Folie" r:id="rId4" imgW="445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11522075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3AABF79-E654-47B0-827D-5774247619BC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309816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C7F0FA92-894D-4FBF-9557-DF29B93362A3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75388" y="1484313"/>
            <a:ext cx="558164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4256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363687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816D4B9-D8D3-42BB-902B-2380EE4E0398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259795" y="1484313"/>
            <a:ext cx="367232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20157" y="1484313"/>
            <a:ext cx="3636881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87709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4" y="1484313"/>
            <a:ext cx="5616574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A9514174-DA9C-49DA-B77C-53DFBFCD4271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75388" y="1484313"/>
            <a:ext cx="5581649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334964" y="4041068"/>
            <a:ext cx="561657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75388" y="4041068"/>
            <a:ext cx="5581649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38746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001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Folie" r:id="rId4" imgW="445" imgH="446" progId="TCLayout.ActiveDocument.1">
                  <p:embed/>
                </p:oleObj>
              </mc:Choice>
              <mc:Fallback>
                <p:oleObj name="think-cell Folie" r:id="rId4" imgW="445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AB47DF68-276E-4A28-8F45-A59DE5D281E1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08228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838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" name="think-cell Folie" r:id="rId4" imgW="445" imgH="446" progId="TCLayout.ActiveDocument.1">
                  <p:embed/>
                </p:oleObj>
              </mc:Choice>
              <mc:Fallback>
                <p:oleObj name="think-cell Folie" r:id="rId4" imgW="445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A4A9D7B-6814-46EA-A6BD-1AA58F5B38BB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425116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47529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Folie" r:id="rId16" imgW="445" imgH="446" progId="TCLayout.ActiveDocument.1">
                  <p:embed/>
                </p:oleObj>
              </mc:Choice>
              <mc:Fallback>
                <p:oleObj name="think-cell Folie" r:id="rId16" imgW="445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auto">
          <a:xfrm>
            <a:off x="155576" y="152400"/>
            <a:ext cx="9685337" cy="1023938"/>
          </a:xfrm>
          <a:prstGeom prst="rect">
            <a:avLst/>
          </a:prstGeom>
          <a:solidFill>
            <a:srgbClr val="D7E1E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34963" y="1484313"/>
            <a:ext cx="11522075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55576" y="152401"/>
            <a:ext cx="9685338" cy="10239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116000" y="6453336"/>
            <a:ext cx="10308592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334963" y="6453336"/>
            <a:ext cx="720477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F9CE5C9E-81F0-4F93-9A22-12F0B7240DF3}" type="datetime1">
              <a:rPr lang="en-GB" noProof="0" smtClean="0"/>
              <a:t>21/09/2018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11424592" y="6453336"/>
            <a:ext cx="43244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noProof="0">
              <a:solidFill>
                <a:schemeClr val="tx1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702F54E-4F27-468C-8297-FEAF5DBD61E6}"/>
              </a:ext>
            </a:extLst>
          </p:cNvPr>
          <p:cNvGrpSpPr/>
          <p:nvPr userDrawn="1"/>
        </p:nvGrpSpPr>
        <p:grpSpPr>
          <a:xfrm>
            <a:off x="9983788" y="152400"/>
            <a:ext cx="2052636" cy="1022400"/>
            <a:chOff x="9983788" y="152400"/>
            <a:chExt cx="2052636" cy="1022400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265322E2-7273-46B7-8306-1226CC998BD1}"/>
                </a:ext>
              </a:extLst>
            </p:cNvPr>
            <p:cNvSpPr/>
            <p:nvPr userDrawn="1"/>
          </p:nvSpPr>
          <p:spPr bwMode="auto">
            <a:xfrm>
              <a:off x="9983788" y="152400"/>
              <a:ext cx="2052636" cy="10224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82800" rIns="90000" bIns="82800" numCol="1" rtlCol="0" anchor="t" anchorCtr="0" compatLnSpc="1">
              <a:prstTxWarp prst="textNoShape">
                <a:avLst/>
              </a:prstTxWarp>
            </a:bodyPr>
            <a:lstStyle/>
            <a:p>
              <a:pPr marL="182563" marR="0" indent="-182563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LindeDaxPowerPoint" panose="020B0500000000020000" pitchFamily="34" charset="0"/>
                <a:buChar char="–"/>
                <a:tabLst/>
              </a:pPr>
              <a:endParaRPr kumimoji="0" 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LindeDaxPowerPoint" pitchFamily="34" charset="0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C8BA67F-0BAE-4C56-AD12-D9D4E042B9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30941" y="253088"/>
              <a:ext cx="1444340" cy="822902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8" r:id="rId3"/>
    <p:sldLayoutId id="2147483650" r:id="rId4"/>
    <p:sldLayoutId id="2147483658" r:id="rId5"/>
    <p:sldLayoutId id="2147483670" r:id="rId6"/>
    <p:sldLayoutId id="2147483669" r:id="rId7"/>
    <p:sldLayoutId id="2147483654" r:id="rId8"/>
    <p:sldLayoutId id="2147483660" r:id="rId9"/>
    <p:sldLayoutId id="2147483671" r:id="rId10"/>
    <p:sldLayoutId id="2147483673" r:id="rId11"/>
    <p:sldLayoutId id="2147483672" r:id="rId12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6" userDrawn="1">
          <p15:clr>
            <a:srgbClr val="F26B43"/>
          </p15:clr>
        </p15:guide>
        <p15:guide id="2" pos="98" userDrawn="1">
          <p15:clr>
            <a:srgbClr val="F26B43"/>
          </p15:clr>
        </p15:guide>
        <p15:guide id="3" pos="7582" userDrawn="1">
          <p15:clr>
            <a:srgbClr val="F26B43"/>
          </p15:clr>
        </p15:guide>
        <p15:guide id="4" orient="horz" pos="4224" userDrawn="1">
          <p15:clr>
            <a:srgbClr val="F26B43"/>
          </p15:clr>
        </p15:guide>
        <p15:guide id="5" pos="6289" userDrawn="1">
          <p15:clr>
            <a:srgbClr val="F26B43"/>
          </p15:clr>
        </p15:guide>
        <p15:guide id="6" pos="6199" userDrawn="1">
          <p15:clr>
            <a:srgbClr val="F26B43"/>
          </p15:clr>
        </p15:guide>
        <p15:guide id="7" orient="horz" pos="935" userDrawn="1">
          <p15:clr>
            <a:srgbClr val="F26B43"/>
          </p15:clr>
        </p15:guide>
        <p15:guide id="8" orient="horz" pos="845" userDrawn="1">
          <p15:clr>
            <a:srgbClr val="F26B43"/>
          </p15:clr>
        </p15:guide>
        <p15:guide id="9" pos="211" userDrawn="1">
          <p15:clr>
            <a:srgbClr val="F26B43"/>
          </p15:clr>
        </p15:guide>
        <p15:guide id="10" pos="7469" userDrawn="1">
          <p15:clr>
            <a:srgbClr val="F26B43"/>
          </p15:clr>
        </p15:guide>
        <p15:guide id="11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24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23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12" Type="http://schemas.openxmlformats.org/officeDocument/2006/relationships/image" Target="../media/image29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27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3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6.xml"/><Relationship Id="rId7" Type="http://schemas.openxmlformats.org/officeDocument/2006/relationships/image" Target="../media/image6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20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939E37E-5D6F-4C73-A8EC-AB529F0C1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895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9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EA50B66-943C-4C6A-9D14-0DDE114EE3F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kumimoji="0" lang="en-GB" sz="3600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ООО «Линде Силовые машины»</a:t>
            </a:r>
            <a:br>
              <a:rPr lang="en-GB" noProof="0" dirty="0"/>
            </a:br>
            <a:r>
              <a:rPr lang="ru-RU" b="0" dirty="0">
                <a:solidFill>
                  <a:schemeClr val="tx2"/>
                </a:solidFill>
              </a:rPr>
              <a:t>Производство первого спиральновитого теплообменника</a:t>
            </a:r>
            <a:endParaRPr lang="en-GB" b="0" noProof="0" dirty="0">
              <a:solidFill>
                <a:schemeClr val="tx2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noProof="0" dirty="0"/>
              <a:t>Кристоф </a:t>
            </a:r>
            <a:r>
              <a:rPr lang="ru-RU" noProof="0" dirty="0" err="1"/>
              <a:t>Зеехольцер</a:t>
            </a:r>
            <a:endParaRPr lang="en-GB" noProof="0" dirty="0"/>
          </a:p>
          <a:p>
            <a:r>
              <a:rPr lang="ru-RU" dirty="0"/>
              <a:t>Санкт-Петербург</a:t>
            </a:r>
            <a:r>
              <a:rPr lang="en-GB" noProof="0" dirty="0"/>
              <a:t>, </a:t>
            </a:r>
            <a:r>
              <a:rPr lang="ru-RU" noProof="0" dirty="0"/>
              <a:t>3 октября 2018 г.</a:t>
            </a:r>
            <a:endParaRPr lang="en-GB" noProof="0" dirty="0"/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32231179-570E-4AD0-B6A7-567DD6F6DD4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6958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637A7D-520D-480F-840E-6326863B20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178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9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51C88F6-6082-4A77-A75F-96D42A261B7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0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336" y="152401"/>
            <a:ext cx="8232503" cy="1008062"/>
          </a:xfrm>
        </p:spPr>
        <p:txBody>
          <a:bodyPr/>
          <a:lstStyle/>
          <a:p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Производство</a:t>
            </a:r>
            <a:r>
              <a:rPr lang="en-US" dirty="0"/>
              <a:t> – </a:t>
            </a:r>
            <a:r>
              <a:rPr lang="ru-RU" dirty="0"/>
              <a:t>Навивочные работы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E94A775-F605-426A-8D35-7132998AC0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1424" y="1412776"/>
            <a:ext cx="10416480" cy="486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7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CF47E18-9113-45D7-8BF1-B551C24DB7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70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5" name="think-cell Folie" r:id="rId6" imgW="445" imgH="446" progId="TCLayout.ActiveDocument.1">
                  <p:embed/>
                </p:oleObj>
              </mc:Choice>
              <mc:Fallback>
                <p:oleObj name="think-cell Folie" r:id="rId6" imgW="445" imgH="446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CF47E18-9113-45D7-8BF1-B551C24DB7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E2D6A79-64BB-4A94-89A2-AE7D6D6C94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0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4" y="152401"/>
            <a:ext cx="8160495" cy="1008062"/>
          </a:xfrm>
        </p:spPr>
        <p:txBody>
          <a:bodyPr/>
          <a:lstStyle/>
          <a:p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Производство</a:t>
            </a:r>
            <a:r>
              <a:rPr lang="en-US" dirty="0"/>
              <a:t> – </a:t>
            </a:r>
            <a:r>
              <a:rPr lang="ru-RU" dirty="0"/>
              <a:t>Финальная сборка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BC400FB8-4008-4442-8197-60E42280C91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4486" y="1624318"/>
            <a:ext cx="1929426" cy="1440638"/>
          </a:xfrm>
          <a:prstGeom prst="rect">
            <a:avLst/>
          </a:prstGeom>
        </p:spPr>
      </p:pic>
      <p:pic>
        <p:nvPicPr>
          <p:cNvPr id="11" name="Picture 5">
            <a:extLst>
              <a:ext uri="{FF2B5EF4-FFF2-40B4-BE49-F238E27FC236}">
                <a16:creationId xmlns:a16="http://schemas.microsoft.com/office/drawing/2014/main" id="{F34F3FCA-84C7-4A6B-9B15-5272CED8ABF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571" y="1629243"/>
            <a:ext cx="2965118" cy="1433790"/>
          </a:xfrm>
          <a:prstGeom prst="rect">
            <a:avLst/>
          </a:prstGeom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66E9C6A9-D2EC-42A1-8A67-CA1E3F89C2D7}"/>
              </a:ext>
            </a:extLst>
          </p:cNvPr>
          <p:cNvSpPr txBox="1"/>
          <p:nvPr/>
        </p:nvSpPr>
        <p:spPr>
          <a:xfrm>
            <a:off x="862770" y="3063033"/>
            <a:ext cx="2369929" cy="55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дварительно изготовленный корпус</a:t>
            </a: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49232689-6D05-4A70-8A70-68B66B9C9B79}"/>
              </a:ext>
            </a:extLst>
          </p:cNvPr>
          <p:cNvSpPr txBox="1"/>
          <p:nvPr/>
        </p:nvSpPr>
        <p:spPr>
          <a:xfrm>
            <a:off x="9048329" y="6016019"/>
            <a:ext cx="2757126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ВТО финальные сварочные швы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300E4C4D-632E-48F0-8C17-48A3989513ED}"/>
              </a:ext>
            </a:extLst>
          </p:cNvPr>
          <p:cNvSpPr txBox="1"/>
          <p:nvPr/>
        </p:nvSpPr>
        <p:spPr>
          <a:xfrm>
            <a:off x="3503712" y="3069372"/>
            <a:ext cx="1531830" cy="552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варка труб к</a:t>
            </a:r>
          </a:p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убной решетке</a:t>
            </a:r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CE6B9B63-5EE5-4401-B9E3-287D09A9AFD0}"/>
              </a:ext>
            </a:extLst>
          </p:cNvPr>
          <p:cNvSpPr txBox="1"/>
          <p:nvPr/>
        </p:nvSpPr>
        <p:spPr>
          <a:xfrm>
            <a:off x="3821121" y="6064574"/>
            <a:ext cx="2040871" cy="31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вод пучка в корпус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17B6EB4-64DC-439C-83DE-5D5F55150C4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617" y="3590588"/>
            <a:ext cx="5053350" cy="242220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0050BA3-D518-487D-B7ED-091B4514EE3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53906" y="1612961"/>
            <a:ext cx="6151548" cy="4402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6065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CF47E18-9113-45D7-8BF1-B551C24DB7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585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4" name="think-cell Folie" r:id="rId6" imgW="445" imgH="446" progId="TCLayout.ActiveDocument.1">
                  <p:embed/>
                </p:oleObj>
              </mc:Choice>
              <mc:Fallback>
                <p:oleObj name="think-cell Folie" r:id="rId6" imgW="445" imgH="446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CF47E18-9113-45D7-8BF1-B551C24DB7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E2D6A79-64BB-4A94-89A2-AE7D6D6C94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0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4" y="152401"/>
            <a:ext cx="8160495" cy="1008062"/>
          </a:xfrm>
        </p:spPr>
        <p:txBody>
          <a:bodyPr/>
          <a:lstStyle/>
          <a:p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Производство - инспекция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66E9C6A9-D2EC-42A1-8A67-CA1E3F89C2D7}"/>
              </a:ext>
            </a:extLst>
          </p:cNvPr>
          <p:cNvSpPr txBox="1"/>
          <p:nvPr/>
        </p:nvSpPr>
        <p:spPr>
          <a:xfrm>
            <a:off x="2924165" y="5492942"/>
            <a:ext cx="1887055" cy="315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инальная инспекция</a:t>
            </a: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49232689-6D05-4A70-8A70-68B66B9C9B79}"/>
              </a:ext>
            </a:extLst>
          </p:cNvPr>
          <p:cNvSpPr txBox="1"/>
          <p:nvPr/>
        </p:nvSpPr>
        <p:spPr>
          <a:xfrm>
            <a:off x="2321891" y="2687891"/>
            <a:ext cx="1312219" cy="552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ст на </a:t>
            </a:r>
          </a:p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ерметичность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300E4C4D-632E-48F0-8C17-48A3989513ED}"/>
              </a:ext>
            </a:extLst>
          </p:cNvPr>
          <p:cNvSpPr txBox="1"/>
          <p:nvPr/>
        </p:nvSpPr>
        <p:spPr>
          <a:xfrm>
            <a:off x="374034" y="5492942"/>
            <a:ext cx="1424044" cy="552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идравлические</a:t>
            </a:r>
          </a:p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испытания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3D0282-B76E-43B0-A37C-0D46F61280C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358"/>
          <a:stretch/>
        </p:blipFill>
        <p:spPr>
          <a:xfrm>
            <a:off x="2264853" y="3167081"/>
            <a:ext cx="2677087" cy="2325861"/>
          </a:xfrm>
          <a:prstGeom prst="rect">
            <a:avLst/>
          </a:prstGeom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CE6B9B63-5EE5-4401-B9E3-287D09A9AFD0}"/>
              </a:ext>
            </a:extLst>
          </p:cNvPr>
          <p:cNvSpPr txBox="1"/>
          <p:nvPr/>
        </p:nvSpPr>
        <p:spPr>
          <a:xfrm>
            <a:off x="5951984" y="5527317"/>
            <a:ext cx="5616624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рупповое фото после успешного завершения финальной инспекции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C83FF56-2C92-4182-B047-13637D0DE23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034" y="1496497"/>
            <a:ext cx="1706611" cy="400506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F90CDD4-D8C9-4C45-B540-B9779A754F2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4853" y="1496498"/>
            <a:ext cx="1022835" cy="119215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472785C-C1E6-4FD4-9E44-11DD9C22596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78782" y="1496497"/>
            <a:ext cx="6714497" cy="40050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B87D9DBD-513D-4BD0-9719-A8674F61532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7728" y="1495298"/>
            <a:ext cx="1303589" cy="1192593"/>
          </a:xfrm>
          <a:prstGeom prst="rect">
            <a:avLst/>
          </a:prstGeom>
        </p:spPr>
      </p:pic>
      <p:sp>
        <p:nvSpPr>
          <p:cNvPr id="19" name="TextBox 10">
            <a:extLst>
              <a:ext uri="{FF2B5EF4-FFF2-40B4-BE49-F238E27FC236}">
                <a16:creationId xmlns:a16="http://schemas.microsoft.com/office/drawing/2014/main" id="{F1AE386D-F504-4339-A979-3156FCEC79C5}"/>
              </a:ext>
            </a:extLst>
          </p:cNvPr>
          <p:cNvSpPr txBox="1"/>
          <p:nvPr/>
        </p:nvSpPr>
        <p:spPr>
          <a:xfrm>
            <a:off x="3761624" y="2686884"/>
            <a:ext cx="1289712" cy="315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ертификация</a:t>
            </a:r>
          </a:p>
        </p:txBody>
      </p:sp>
    </p:spTree>
    <p:extLst>
      <p:ext uri="{BB962C8B-B14F-4D97-AF65-F5344CB8AC3E}">
        <p14:creationId xmlns:p14="http://schemas.microsoft.com/office/powerpoint/2010/main" val="28749605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CF47E18-9113-45D7-8BF1-B551C24DB7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447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7" name="think-cell Folie" r:id="rId6" imgW="445" imgH="446" progId="TCLayout.ActiveDocument.1">
                  <p:embed/>
                </p:oleObj>
              </mc:Choice>
              <mc:Fallback>
                <p:oleObj name="think-cell Folie" r:id="rId6" imgW="445" imgH="446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CF47E18-9113-45D7-8BF1-B551C24DB7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E2D6A79-64BB-4A94-89A2-AE7D6D6C94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0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4" y="152401"/>
            <a:ext cx="8160495" cy="1008062"/>
          </a:xfrm>
        </p:spPr>
        <p:txBody>
          <a:bodyPr/>
          <a:lstStyle/>
          <a:p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Отгрузка СВТО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49232689-6D05-4A70-8A70-68B66B9C9B79}"/>
              </a:ext>
            </a:extLst>
          </p:cNvPr>
          <p:cNvSpPr txBox="1"/>
          <p:nvPr/>
        </p:nvSpPr>
        <p:spPr>
          <a:xfrm>
            <a:off x="3941346" y="1844824"/>
            <a:ext cx="871585" cy="315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грузка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300E4C4D-632E-48F0-8C17-48A3989513ED}"/>
              </a:ext>
            </a:extLst>
          </p:cNvPr>
          <p:cNvSpPr txBox="1"/>
          <p:nvPr/>
        </p:nvSpPr>
        <p:spPr>
          <a:xfrm>
            <a:off x="1919536" y="6029398"/>
            <a:ext cx="1872208" cy="31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ВТО - выезд</a:t>
            </a:r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CE6B9B63-5EE5-4401-B9E3-287D09A9AFD0}"/>
              </a:ext>
            </a:extLst>
          </p:cNvPr>
          <p:cNvSpPr txBox="1"/>
          <p:nvPr/>
        </p:nvSpPr>
        <p:spPr>
          <a:xfrm>
            <a:off x="8261214" y="6029398"/>
            <a:ext cx="2587314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портировка Заказчику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3D221C9-BF5F-4450-8B26-8F326E493A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56323" y="1539494"/>
            <a:ext cx="5542654" cy="447561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57E58BE-94EF-4228-B54E-F996580A731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4009198"/>
            <a:ext cx="4747469" cy="20202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C162D4C-1101-4ED3-8260-ACAD383A840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347" y="1541563"/>
            <a:ext cx="3321999" cy="2163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7195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Спасибо за внимание</a:t>
            </a:r>
            <a:r>
              <a:rPr lang="en-US" noProof="0" dirty="0"/>
              <a:t>.</a:t>
            </a:r>
            <a:endParaRPr lang="en-GB" b="0" noProof="0" dirty="0">
              <a:solidFill>
                <a:schemeClr val="tx2"/>
              </a:solidFill>
            </a:endParaRPr>
          </a:p>
        </p:txBody>
      </p:sp>
      <p:pic>
        <p:nvPicPr>
          <p:cNvPr id="6" name="Bildplatzhalt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9000"/>
          </a:xfr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3422A54F-DA9A-44C8-8C9A-117379EBA1A6}"/>
              </a:ext>
            </a:extLst>
          </p:cNvPr>
          <p:cNvSpPr/>
          <p:nvPr/>
        </p:nvSpPr>
        <p:spPr>
          <a:xfrm>
            <a:off x="396000" y="5157192"/>
            <a:ext cx="5555538" cy="1332148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ООО «Линде Силовые машины»</a:t>
            </a:r>
            <a:endParaRPr lang="en-GB" sz="1400" dirty="0">
              <a:solidFill>
                <a:schemeClr val="accent1"/>
              </a:solidFill>
            </a:endParaRPr>
          </a:p>
          <a:p>
            <a:r>
              <a:rPr lang="ru-RU" sz="1400" dirty="0">
                <a:solidFill>
                  <a:schemeClr val="accent1"/>
                </a:solidFill>
              </a:rPr>
              <a:t>Кристоф </a:t>
            </a:r>
            <a:r>
              <a:rPr lang="ru-RU" sz="1400" dirty="0" err="1">
                <a:solidFill>
                  <a:schemeClr val="accent1"/>
                </a:solidFill>
              </a:rPr>
              <a:t>Зеехольцер</a:t>
            </a:r>
            <a:endParaRPr lang="en-GB" sz="1400" dirty="0">
              <a:solidFill>
                <a:schemeClr val="accent1"/>
              </a:solidFill>
            </a:endParaRPr>
          </a:p>
          <a:p>
            <a:r>
              <a:rPr lang="ru-RU" sz="1400" dirty="0">
                <a:solidFill>
                  <a:schemeClr val="accent1"/>
                </a:solidFill>
              </a:rPr>
              <a:t>Тел.</a:t>
            </a:r>
            <a:r>
              <a:rPr lang="en-GB" sz="1400" dirty="0">
                <a:solidFill>
                  <a:schemeClr val="accent1"/>
                </a:solidFill>
              </a:rPr>
              <a:t> +7 921 982 77 18</a:t>
            </a:r>
          </a:p>
          <a:p>
            <a:r>
              <a:rPr lang="en-GB" sz="1400" dirty="0">
                <a:solidFill>
                  <a:schemeClr val="accent1"/>
                </a:solidFill>
              </a:rPr>
              <a:t>christoph.seeholzer@linde.com</a:t>
            </a:r>
          </a:p>
          <a:p>
            <a:r>
              <a:rPr lang="en-GB" sz="1400" dirty="0">
                <a:solidFill>
                  <a:schemeClr val="accent1"/>
                </a:solidFill>
              </a:rPr>
              <a:t>www.linde.com</a:t>
            </a:r>
          </a:p>
        </p:txBody>
      </p:sp>
    </p:spTree>
    <p:extLst>
      <p:ext uri="{BB962C8B-B14F-4D97-AF65-F5344CB8AC3E}">
        <p14:creationId xmlns:p14="http://schemas.microsoft.com/office/powerpoint/2010/main" val="26133085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35D4FA8-E0E8-4A42-B1D8-7DFFB20BA6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9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9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12E7D75-14CE-4EFF-A7A0-976F7A1B7C1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4" y="152401"/>
            <a:ext cx="8160495" cy="1008062"/>
          </a:xfrm>
        </p:spPr>
        <p:txBody>
          <a:bodyPr/>
          <a:lstStyle/>
          <a:p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Основание компании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04567" y="1772816"/>
            <a:ext cx="531537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b="1" dirty="0"/>
              <a:t>Июнь</a:t>
            </a:r>
            <a:r>
              <a:rPr lang="en-US" b="1" dirty="0"/>
              <a:t> 2016</a:t>
            </a:r>
            <a:r>
              <a:rPr lang="en-US" dirty="0"/>
              <a:t>: </a:t>
            </a:r>
            <a:r>
              <a:rPr lang="ru-RU" dirty="0"/>
              <a:t>Газпром, Линде и Силовые машины подписали  Протокол о намерениях организовать СП по производству спиральновитых теплообменников на территории РФ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10.03.2017</a:t>
            </a:r>
            <a:r>
              <a:rPr lang="en-US" dirty="0"/>
              <a:t>: </a:t>
            </a:r>
            <a:r>
              <a:rPr lang="ru-RU" dirty="0"/>
              <a:t> Линде и Силовые  машины подписали договор о создании совместного предприятия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30.05.2017</a:t>
            </a:r>
            <a:r>
              <a:rPr lang="en-US" dirty="0"/>
              <a:t>: </a:t>
            </a:r>
            <a:r>
              <a:rPr lang="ru-RU" dirty="0"/>
              <a:t>Первое Собрание участников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22.06.2017</a:t>
            </a:r>
            <a:r>
              <a:rPr lang="en-US" dirty="0"/>
              <a:t>: </a:t>
            </a:r>
            <a:r>
              <a:rPr lang="ru-RU" dirty="0"/>
              <a:t>Регистрация ООО «Линде Силовые машины»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65FEAC6-1B74-4885-A409-3905AC68AA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1984" y="1480331"/>
            <a:ext cx="5206669" cy="4653136"/>
          </a:xfrm>
          <a:prstGeom prst="rect">
            <a:avLst/>
          </a:prstGeom>
        </p:spPr>
      </p:pic>
      <p:sp>
        <p:nvSpPr>
          <p:cNvPr id="14" name="TextBox 10">
            <a:extLst>
              <a:ext uri="{FF2B5EF4-FFF2-40B4-BE49-F238E27FC236}">
                <a16:creationId xmlns:a16="http://schemas.microsoft.com/office/drawing/2014/main" id="{ED62F3FA-A4BD-4404-A24B-E3AF2E5777C0}"/>
              </a:ext>
            </a:extLst>
          </p:cNvPr>
          <p:cNvSpPr txBox="1"/>
          <p:nvPr/>
        </p:nvSpPr>
        <p:spPr>
          <a:xfrm>
            <a:off x="6384032" y="6133467"/>
            <a:ext cx="4608512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оржественная церемония основания компании </a:t>
            </a:r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1.05.2017</a:t>
            </a:r>
            <a:endParaRPr lang="ru-RU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167049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75892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en-US" sz="2000" b="1" dirty="0"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82D5682-118E-4E30-A5C8-DE934416E9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208538"/>
              </p:ext>
            </p:extLst>
          </p:nvPr>
        </p:nvGraphicFramePr>
        <p:xfrm>
          <a:off x="2281665" y="1671030"/>
          <a:ext cx="9505053" cy="47526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4216">
                  <a:extLst>
                    <a:ext uri="{9D8B030D-6E8A-4147-A177-3AD203B41FA5}">
                      <a16:colId xmlns:a16="http://schemas.microsoft.com/office/drawing/2014/main" val="1423568896"/>
                    </a:ext>
                  </a:extLst>
                </a:gridCol>
                <a:gridCol w="3384376">
                  <a:extLst>
                    <a:ext uri="{9D8B030D-6E8A-4147-A177-3AD203B41FA5}">
                      <a16:colId xmlns:a16="http://schemas.microsoft.com/office/drawing/2014/main" val="4112318664"/>
                    </a:ext>
                  </a:extLst>
                </a:gridCol>
                <a:gridCol w="4176461">
                  <a:extLst>
                    <a:ext uri="{9D8B030D-6E8A-4147-A177-3AD203B41FA5}">
                      <a16:colId xmlns:a16="http://schemas.microsoft.com/office/drawing/2014/main" val="3914951109"/>
                    </a:ext>
                  </a:extLst>
                </a:gridCol>
              </a:tblGrid>
              <a:tr h="534814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Сфера ответственности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Задачи</a:t>
                      </a:r>
                      <a:endParaRPr lang="en-US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3513628"/>
                  </a:ext>
                </a:extLst>
              </a:tr>
              <a:tr h="1337394">
                <a:tc>
                  <a:txBody>
                    <a:bodyPr/>
                    <a:lstStyle/>
                    <a:p>
                      <a:r>
                        <a:rPr lang="ru-RU" sz="1600" dirty="0"/>
                        <a:t>Линде Инжиниринг</a:t>
                      </a:r>
                    </a:p>
                    <a:p>
                      <a:r>
                        <a:rPr lang="ru-RU" sz="1600" dirty="0"/>
                        <a:t>Производство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/>
                        <a:t>Предоставление технологий производства  СВТО</a:t>
                      </a:r>
                      <a:endParaRPr lang="en-US" sz="16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/>
                        <a:t>Описание конструкторских и производственных стандартов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Обучение и поддержка команды ЛСМ </a:t>
                      </a:r>
                      <a:endParaRPr lang="en-US" sz="160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Корректировка процедур и рабочих инструкций</a:t>
                      </a:r>
                      <a:endParaRPr lang="en-US" sz="160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Контроль рабочих инструкций ЛСМ</a:t>
                      </a:r>
                      <a:endParaRPr lang="en-US" sz="160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Руководство и аудиторский контроль ЛСМ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2443570"/>
                  </a:ext>
                </a:extLst>
              </a:tr>
              <a:tr h="1325922">
                <a:tc>
                  <a:txBody>
                    <a:bodyPr/>
                    <a:lstStyle/>
                    <a:p>
                      <a:r>
                        <a:rPr lang="ru-RU" sz="1600" dirty="0"/>
                        <a:t>Линде Силовые машины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/>
                        <a:t>Внедрение стандартов Линде </a:t>
                      </a:r>
                      <a:endParaRPr lang="en-US" sz="16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/>
                        <a:t>Описание местных стандартов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Внедрение процедур Линде</a:t>
                      </a:r>
                      <a:endParaRPr lang="en-US" sz="160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Подготовка рабочих инструкций ЛСМ </a:t>
                      </a:r>
                      <a:endParaRPr lang="en-US" sz="160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Осуществление внутренних аудитов </a:t>
                      </a:r>
                      <a:endParaRPr lang="en-US" sz="160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Отчет перед Линде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0938182"/>
                  </a:ext>
                </a:extLst>
              </a:tr>
              <a:tr h="1259946">
                <a:tc>
                  <a:txBody>
                    <a:bodyPr/>
                    <a:lstStyle/>
                    <a:p>
                      <a:r>
                        <a:rPr lang="ru-RU" sz="1600" dirty="0"/>
                        <a:t>Силовые машины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/>
                        <a:t>Оказание поддержки с местными технологиями производства</a:t>
                      </a:r>
                      <a:endParaRPr lang="en-US" sz="16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/>
                        <a:t>Оказание поддержки с производственными мощностями и персонало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Контроль рабочих инструкций ЛСМ </a:t>
                      </a:r>
                      <a:r>
                        <a:rPr lang="en-US" sz="1600" dirty="0"/>
                        <a:t>(</a:t>
                      </a:r>
                      <a:r>
                        <a:rPr lang="ru-RU" sz="1600" dirty="0"/>
                        <a:t>ТБ</a:t>
                      </a:r>
                      <a:r>
                        <a:rPr lang="en-US" sz="1600" dirty="0"/>
                        <a:t>, </a:t>
                      </a:r>
                      <a:r>
                        <a:rPr lang="ru-RU" sz="1600" dirty="0"/>
                        <a:t>производственная площадка</a:t>
                      </a:r>
                      <a:r>
                        <a:rPr lang="en-US" sz="1600" dirty="0"/>
                        <a:t>…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600" dirty="0"/>
                        <a:t>Консультирование руководства ЛСМ и ключевого персонала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5254448"/>
                  </a:ext>
                </a:extLst>
              </a:tr>
            </a:tbl>
          </a:graphicData>
        </a:graphic>
      </p:graphicFrame>
      <p:sp>
        <p:nvSpPr>
          <p:cNvPr id="53657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Поддержка компаний-учредителей</a:t>
            </a:r>
            <a:endParaRPr lang="en-US" sz="1400" dirty="0"/>
          </a:p>
        </p:txBody>
      </p:sp>
      <p:pic>
        <p:nvPicPr>
          <p:cNvPr id="8" name="Picture 15">
            <a:extLst>
              <a:ext uri="{FF2B5EF4-FFF2-40B4-BE49-F238E27FC236}">
                <a16:creationId xmlns:a16="http://schemas.microsoft.com/office/drawing/2014/main" id="{8E65A8B7-F455-4755-B4CF-4ACE902A3F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14794" y="4869160"/>
            <a:ext cx="1235474" cy="1128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AF17804-2642-4508-943A-3F3BFA1ADCD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866" y="3590174"/>
            <a:ext cx="1444340" cy="822902"/>
          </a:xfrm>
          <a:prstGeom prst="rect">
            <a:avLst/>
          </a:prstGeom>
        </p:spPr>
      </p:pic>
      <p:pic>
        <p:nvPicPr>
          <p:cNvPr id="11" name="Picture 18" descr="LG_Modul1_RGB_74mm">
            <a:extLst>
              <a:ext uri="{FF2B5EF4-FFF2-40B4-BE49-F238E27FC236}">
                <a16:creationId xmlns:a16="http://schemas.microsoft.com/office/drawing/2014/main" id="{555CA9F7-7435-4364-BDC6-FC7FA46575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713" y="2238286"/>
            <a:ext cx="1656184" cy="826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A643301B-B1CC-4EE6-BF94-9487E6FD83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4963" y="6453336"/>
            <a:ext cx="720477" cy="252264"/>
          </a:xfrm>
        </p:spPr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D566F29B-0D54-4A75-933A-D0700EE60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16000" y="6453336"/>
            <a:ext cx="10308592" cy="2522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</p:spTree>
    <p:extLst>
      <p:ext uri="{BB962C8B-B14F-4D97-AF65-F5344CB8AC3E}">
        <p14:creationId xmlns:p14="http://schemas.microsoft.com/office/powerpoint/2010/main" val="35932769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2F1FC0A-4182-43C0-B66A-2C5CC2C4AE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Folie" r:id="rId5" imgW="445" imgH="446" progId="TCLayout.ActiveDocument.1">
                  <p:embed/>
                </p:oleObj>
              </mc:Choice>
              <mc:Fallback>
                <p:oleObj name="think-cell Folie" r:id="rId5" imgW="445" imgH="4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2F1FC0A-4182-43C0-B66A-2C5CC2C4AE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B53BDC41-D4CE-4283-96D0-C357ECE557B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1358195"/>
            <a:ext cx="3980786" cy="520181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718AB4A3-6986-47E7-B179-2AF54D4EF87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7768" y="3501008"/>
            <a:ext cx="7943528" cy="2719333"/>
          </a:xfrm>
          <a:prstGeom prst="rect">
            <a:avLst/>
          </a:prstGeom>
        </p:spPr>
      </p:pic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 bwMode="gray">
          <a:xfrm>
            <a:off x="155577" y="152636"/>
            <a:ext cx="6696510" cy="1008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ru-RU" kern="0" dirty="0"/>
              <a:t>Линде Силовые машины</a:t>
            </a:r>
            <a:br>
              <a:rPr lang="en-US" kern="0" dirty="0"/>
            </a:br>
            <a:r>
              <a:rPr lang="ru-RU" kern="0" dirty="0"/>
              <a:t>Площадки</a:t>
            </a:r>
            <a:endParaRPr lang="en-US" kern="0" dirty="0"/>
          </a:p>
        </p:txBody>
      </p:sp>
      <p:sp>
        <p:nvSpPr>
          <p:cNvPr id="17" name="Legende: Linie 16">
            <a:extLst>
              <a:ext uri="{FF2B5EF4-FFF2-40B4-BE49-F238E27FC236}">
                <a16:creationId xmlns:a16="http://schemas.microsoft.com/office/drawing/2014/main" id="{0C1FD865-7512-4A5B-A4DF-F93A0622F43F}"/>
              </a:ext>
            </a:extLst>
          </p:cNvPr>
          <p:cNvSpPr/>
          <p:nvPr/>
        </p:nvSpPr>
        <p:spPr bwMode="auto">
          <a:xfrm>
            <a:off x="9169970" y="5031230"/>
            <a:ext cx="2111211" cy="558010"/>
          </a:xfrm>
          <a:prstGeom prst="borderCallout1">
            <a:avLst>
              <a:gd name="adj1" fmla="val 105232"/>
              <a:gd name="adj2" fmla="val -1503"/>
              <a:gd name="adj3" fmla="val 184050"/>
              <a:gd name="adj4" fmla="val -14607"/>
            </a:avLst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18C1865-F6AF-403C-8C1F-1B7ABBC14998}"/>
              </a:ext>
            </a:extLst>
          </p:cNvPr>
          <p:cNvSpPr txBox="1"/>
          <p:nvPr/>
        </p:nvSpPr>
        <p:spPr>
          <a:xfrm>
            <a:off x="7979532" y="6206355"/>
            <a:ext cx="2076908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Арендуемая площадь </a:t>
            </a:r>
            <a:r>
              <a:rPr lang="en-US" b="1" dirty="0">
                <a:solidFill>
                  <a:srgbClr val="00B050"/>
                </a:solidFill>
              </a:rPr>
              <a:t>750 </a:t>
            </a:r>
            <a:r>
              <a:rPr lang="ru-RU" b="1" dirty="0">
                <a:solidFill>
                  <a:srgbClr val="00B050"/>
                </a:solidFill>
              </a:rPr>
              <a:t>м</a:t>
            </a:r>
            <a:r>
              <a:rPr lang="en-US" b="1" dirty="0">
                <a:solidFill>
                  <a:srgbClr val="00B050"/>
                </a:solidFill>
              </a:rPr>
              <a:t>²</a:t>
            </a:r>
          </a:p>
        </p:txBody>
      </p:sp>
      <p:sp>
        <p:nvSpPr>
          <p:cNvPr id="19" name="Legende: Linie 18">
            <a:extLst>
              <a:ext uri="{FF2B5EF4-FFF2-40B4-BE49-F238E27FC236}">
                <a16:creationId xmlns:a16="http://schemas.microsoft.com/office/drawing/2014/main" id="{3AF837C1-4AD0-4E26-98FB-6588C7416137}"/>
              </a:ext>
            </a:extLst>
          </p:cNvPr>
          <p:cNvSpPr/>
          <p:nvPr/>
        </p:nvSpPr>
        <p:spPr bwMode="auto">
          <a:xfrm>
            <a:off x="4285119" y="4195354"/>
            <a:ext cx="7272808" cy="1393886"/>
          </a:xfrm>
          <a:prstGeom prst="borderCallout1">
            <a:avLst>
              <a:gd name="adj1" fmla="val 99344"/>
              <a:gd name="adj2" fmla="val 31820"/>
              <a:gd name="adj3" fmla="val 144542"/>
              <a:gd name="adj4" fmla="val 27084"/>
            </a:avLst>
          </a:prstGeom>
          <a:noFill/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A7F4EDF-16BF-4F25-82D1-5567AF0F2BCA}"/>
              </a:ext>
            </a:extLst>
          </p:cNvPr>
          <p:cNvSpPr txBox="1"/>
          <p:nvPr/>
        </p:nvSpPr>
        <p:spPr>
          <a:xfrm>
            <a:off x="5602622" y="6158169"/>
            <a:ext cx="1717514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48B3FF"/>
                </a:solidFill>
              </a:rPr>
              <a:t>Общая площадь </a:t>
            </a:r>
            <a:r>
              <a:rPr lang="en-US" b="1" dirty="0">
                <a:solidFill>
                  <a:srgbClr val="48B3FF"/>
                </a:solidFill>
              </a:rPr>
              <a:t>6400 </a:t>
            </a:r>
            <a:r>
              <a:rPr lang="ru-RU" b="1" dirty="0">
                <a:solidFill>
                  <a:srgbClr val="48B3FF"/>
                </a:solidFill>
              </a:rPr>
              <a:t>м</a:t>
            </a:r>
            <a:r>
              <a:rPr lang="en-US" b="1" dirty="0">
                <a:solidFill>
                  <a:srgbClr val="48B3FF"/>
                </a:solidFill>
              </a:rPr>
              <a:t>²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BAEA238-8BDF-493C-8934-8FA0E0B3156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9454" y="1506780"/>
            <a:ext cx="4583832" cy="1859453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693053CD-0897-433C-AD57-1D35C7553502}"/>
              </a:ext>
            </a:extLst>
          </p:cNvPr>
          <p:cNvSpPr txBox="1"/>
          <p:nvPr/>
        </p:nvSpPr>
        <p:spPr>
          <a:xfrm>
            <a:off x="1370594" y="4892297"/>
            <a:ext cx="1360559" cy="3478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5591"/>
                </a:solidFill>
              </a:rPr>
              <a:t>Офис ЛСМ</a:t>
            </a:r>
            <a:endParaRPr lang="en-US" b="1" dirty="0">
              <a:solidFill>
                <a:srgbClr val="005591"/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7237F56A-D6C5-4BDC-8D4D-FB6AB1EDC1C7}"/>
              </a:ext>
            </a:extLst>
          </p:cNvPr>
          <p:cNvSpPr txBox="1"/>
          <p:nvPr/>
        </p:nvSpPr>
        <p:spPr>
          <a:xfrm>
            <a:off x="4131094" y="1298471"/>
            <a:ext cx="1964906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5591"/>
                </a:solidFill>
              </a:rPr>
              <a:t>Производственная площадка ЛСМ</a:t>
            </a:r>
            <a:endParaRPr lang="en-US" b="1" dirty="0">
              <a:solidFill>
                <a:srgbClr val="005591"/>
              </a:solidFill>
            </a:endParaRPr>
          </a:p>
        </p:txBody>
      </p:sp>
      <p:sp>
        <p:nvSpPr>
          <p:cNvPr id="10" name="Kreuz 9">
            <a:extLst>
              <a:ext uri="{FF2B5EF4-FFF2-40B4-BE49-F238E27FC236}">
                <a16:creationId xmlns:a16="http://schemas.microsoft.com/office/drawing/2014/main" id="{50ABE5B4-409B-41B4-AD19-3A04573302AA}"/>
              </a:ext>
            </a:extLst>
          </p:cNvPr>
          <p:cNvSpPr/>
          <p:nvPr/>
        </p:nvSpPr>
        <p:spPr bwMode="auto">
          <a:xfrm rot="2676238">
            <a:off x="3874121" y="1258667"/>
            <a:ext cx="267292" cy="266588"/>
          </a:xfrm>
          <a:prstGeom prst="plus">
            <a:avLst>
              <a:gd name="adj" fmla="val 41177"/>
            </a:avLst>
          </a:prstGeom>
          <a:solidFill>
            <a:srgbClr val="00559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33" name="Kreuz 32">
            <a:extLst>
              <a:ext uri="{FF2B5EF4-FFF2-40B4-BE49-F238E27FC236}">
                <a16:creationId xmlns:a16="http://schemas.microsoft.com/office/drawing/2014/main" id="{6ECDEB71-BCA3-4E37-B9CF-C651092AD55C}"/>
              </a:ext>
            </a:extLst>
          </p:cNvPr>
          <p:cNvSpPr/>
          <p:nvPr/>
        </p:nvSpPr>
        <p:spPr bwMode="auto">
          <a:xfrm rot="2676238">
            <a:off x="2191710" y="5158493"/>
            <a:ext cx="267292" cy="266588"/>
          </a:xfrm>
          <a:prstGeom prst="plus">
            <a:avLst>
              <a:gd name="adj" fmla="val 41177"/>
            </a:avLst>
          </a:prstGeom>
          <a:solidFill>
            <a:srgbClr val="00559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1195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2D5449A-594C-4962-8C9A-4901BE17FE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75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5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5DBB901-388D-4C63-957F-8D89F2A2CB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0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4" y="152401"/>
            <a:ext cx="8160495" cy="1008062"/>
          </a:xfrm>
        </p:spPr>
        <p:txBody>
          <a:bodyPr/>
          <a:lstStyle/>
          <a:p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Организация производственной площадки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pic>
        <p:nvPicPr>
          <p:cNvPr id="8" name="Bildplatzhalter 3">
            <a:extLst>
              <a:ext uri="{FF2B5EF4-FFF2-40B4-BE49-F238E27FC236}">
                <a16:creationId xmlns:a16="http://schemas.microsoft.com/office/drawing/2014/main" id="{FD78EA14-EA35-4D9C-AE3E-5988640DE45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17" b="21717"/>
          <a:stretch>
            <a:fillRect/>
          </a:stretch>
        </p:blipFill>
        <p:spPr>
          <a:xfrm>
            <a:off x="334963" y="1401631"/>
            <a:ext cx="3110931" cy="1319776"/>
          </a:xfrm>
          <a:prstGeom prst="rect">
            <a:avLst/>
          </a:prstGeom>
        </p:spPr>
      </p:pic>
      <p:pic>
        <p:nvPicPr>
          <p:cNvPr id="10" name="Bildplatzhalter 6">
            <a:extLst>
              <a:ext uri="{FF2B5EF4-FFF2-40B4-BE49-F238E27FC236}">
                <a16:creationId xmlns:a16="http://schemas.microsoft.com/office/drawing/2014/main" id="{06CF9F72-C2B4-4B8E-90A8-6E2DCFF6084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17" b="21717"/>
          <a:stretch>
            <a:fillRect/>
          </a:stretch>
        </p:blipFill>
        <p:spPr>
          <a:xfrm>
            <a:off x="328539" y="2843754"/>
            <a:ext cx="3110931" cy="1319776"/>
          </a:xfrm>
          <a:prstGeom prst="rect">
            <a:avLst/>
          </a:prstGeom>
        </p:spPr>
      </p:pic>
      <p:pic>
        <p:nvPicPr>
          <p:cNvPr id="11" name="Bildplatzhalter 6">
            <a:extLst>
              <a:ext uri="{FF2B5EF4-FFF2-40B4-BE49-F238E27FC236}">
                <a16:creationId xmlns:a16="http://schemas.microsoft.com/office/drawing/2014/main" id="{BD99BCD3-861D-48E3-BBA8-78E50C9DCCB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17" b="21717"/>
          <a:stretch>
            <a:fillRect/>
          </a:stretch>
        </p:blipFill>
        <p:spPr>
          <a:xfrm>
            <a:off x="334963" y="4285877"/>
            <a:ext cx="3104507" cy="131705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80D22F2-A3F2-4243-947E-C7EE1F8B4F7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91744" y="1916832"/>
            <a:ext cx="7632848" cy="3534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0281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ct val="0"/>
              </a:spcAft>
            </a:pPr>
            <a:endParaRPr lang="en-US" sz="800" dirty="0">
              <a:cs typeface="Arial" panose="020B0604020202020204" pitchFamily="34" charset="0"/>
              <a:sym typeface="LindeDaxPowerPoint" panose="020B0500000000020000" pitchFamily="34" charset="0"/>
            </a:endParaRPr>
          </a:p>
        </p:txBody>
      </p:sp>
      <p:sp>
        <p:nvSpPr>
          <p:cNvPr id="53657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19336" y="98425"/>
            <a:ext cx="8232502" cy="1022350"/>
          </a:xfrm>
        </p:spPr>
        <p:txBody>
          <a:bodyPr/>
          <a:lstStyle/>
          <a:p>
            <a:pPr eaLnBrk="1" hangingPunct="1">
              <a:defRPr/>
            </a:pPr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Этапы производства СВТО</a:t>
            </a:r>
            <a:endParaRPr lang="en-US" sz="14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448" y="1268760"/>
            <a:ext cx="9142583" cy="5377146"/>
          </a:xfrm>
          <a:prstGeom prst="rect">
            <a:avLst/>
          </a:prstGeom>
        </p:spPr>
      </p:pic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5270861-8759-412B-A571-D3F96DAFB6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4963" y="6453336"/>
            <a:ext cx="720477" cy="252264"/>
          </a:xfrm>
        </p:spPr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0A871C57-DAAB-4235-BD54-E2C5C6439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16000" y="6453336"/>
            <a:ext cx="10308592" cy="2522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</p:spTree>
    <p:extLst>
      <p:ext uri="{BB962C8B-B14F-4D97-AF65-F5344CB8AC3E}">
        <p14:creationId xmlns:p14="http://schemas.microsoft.com/office/powerpoint/2010/main" val="15962298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A7F61F-5EDB-496D-BF9C-A1802D0203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522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7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A64DB49-08F6-4501-963C-BA7022A32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0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336" y="152401"/>
            <a:ext cx="8232503" cy="1008062"/>
          </a:xfrm>
        </p:spPr>
        <p:txBody>
          <a:bodyPr/>
          <a:lstStyle/>
          <a:p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Изготовление сердечника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0F2CB18-6A69-4180-9D8F-CD22A03D4DB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424" y="1362613"/>
            <a:ext cx="10400646" cy="5197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0863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DD2F6FB-0E5F-4EA0-9964-FD354A1390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300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1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52BE2D6-FF65-4896-AFC1-78C62D3809B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0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336" y="152401"/>
            <a:ext cx="8232503" cy="1008062"/>
          </a:xfrm>
        </p:spPr>
        <p:txBody>
          <a:bodyPr/>
          <a:lstStyle/>
          <a:p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Производство</a:t>
            </a:r>
            <a:r>
              <a:rPr lang="en-US" dirty="0"/>
              <a:t> – </a:t>
            </a:r>
            <a:r>
              <a:rPr lang="ru-RU" dirty="0"/>
              <a:t>Навивочные работы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0DB55C5-04DB-4685-80CC-BF8D5F54A80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639" y="1322431"/>
            <a:ext cx="10692953" cy="5202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10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524285E-19F9-45A9-A2AE-9C169638C7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561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5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849040A-7E78-4541-B685-62F6992D92F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0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336" y="152401"/>
            <a:ext cx="8232503" cy="1008062"/>
          </a:xfrm>
        </p:spPr>
        <p:txBody>
          <a:bodyPr/>
          <a:lstStyle/>
          <a:p>
            <a:r>
              <a:rPr lang="ru-RU" dirty="0"/>
              <a:t>Линде Силовые машины</a:t>
            </a:r>
            <a:br>
              <a:rPr lang="en-US" dirty="0"/>
            </a:br>
            <a:r>
              <a:rPr lang="ru-RU" dirty="0"/>
              <a:t>Производство</a:t>
            </a:r>
            <a:r>
              <a:rPr lang="en-US" dirty="0"/>
              <a:t> – </a:t>
            </a:r>
            <a:r>
              <a:rPr lang="ru-RU" dirty="0"/>
              <a:t>Навивочные работы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E3D5873-F4BE-4A8D-920B-0FFB88C5043D}" type="datetime1">
              <a:rPr lang="en-US" noProof="0" smtClean="0"/>
              <a:t>9/21/20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de Power machines LLC / Christoph Seeholze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5563B63-15A3-49B5-B5AA-BC538F09EF7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432" y="1319972"/>
            <a:ext cx="10128448" cy="515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419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37&quot; g=&quot;91&quot; b=&quot;7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D_05TExUOxvg8o3wV9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ZZM_saTQyz4QRzUNO6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D_05TExUOxvg8o3wV9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69THj7TwCEeWDq_tNE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KfUZraRRqA8gqsSeQ8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7lkWXRKKnUKs.6.gq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GaacU7QZWN7VHBwJw7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hhxfglSOajX1UxBUia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hhxfglSOajX1UxBUia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hhxfglSOajX1UxBUia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6wAm_fRnqOYvFDIWhN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TWK20.SUGRNXocANQILg"/>
</p:tagLst>
</file>

<file path=ppt/theme/theme1.xml><?xml version="1.0" encoding="utf-8"?>
<a:theme xmlns:a="http://schemas.openxmlformats.org/drawingml/2006/main" name="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e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ey">
      <a:srgbClr val="D2E1EB"/>
    </a:custClr>
    <a:custClr name="Linde Blue Grey 1">
      <a:srgbClr val="BEC8D7"/>
    </a:custClr>
    <a:custClr name="Linde Blue Grey 2">
      <a:srgbClr val="96A5B4"/>
    </a:custClr>
    <a:custClr name="Linde Blue Grey 3">
      <a:srgbClr val="467391"/>
    </a:custClr>
    <a:custClr name="Linde Grey 1">
      <a:srgbClr val="D7E1E6"/>
    </a:custClr>
    <a:custClr name="Linde Grey 2">
      <a:srgbClr val="CDD2CD"/>
    </a:custClr>
    <a:custClr name="Linde Gre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Präsentation33" id="{33FE790B-1CD3-8847-A09D-7149FE3B5872}" vid="{10EAB22C-434C-1F4C-A44B-C4FD5D27D4DA}"/>
    </a:ext>
  </a:extLst>
</a:theme>
</file>

<file path=ppt/theme/theme2.xml><?xml version="1.0" encoding="utf-8"?>
<a:theme xmlns:a="http://schemas.openxmlformats.org/drawingml/2006/main" name="Larissa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inde_Power_Machines_PowerPoint_16x9</Template>
  <TotalTime>0</TotalTime>
  <Words>389</Words>
  <Application>Microsoft Office PowerPoint</Application>
  <PresentationFormat>Widescreen</PresentationFormat>
  <Paragraphs>108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MS PGothic</vt:lpstr>
      <vt:lpstr>MS PGothic</vt:lpstr>
      <vt:lpstr>Arial</vt:lpstr>
      <vt:lpstr>LindeDaxPowerPoint</vt:lpstr>
      <vt:lpstr>Wingdings</vt:lpstr>
      <vt:lpstr>Linde</vt:lpstr>
      <vt:lpstr>think-cell Folie</vt:lpstr>
      <vt:lpstr>ООО «Линде Силовые машины» Производство первого спиральновитого теплообменника</vt:lpstr>
      <vt:lpstr>Линде Силовые машины Основание компании </vt:lpstr>
      <vt:lpstr>Линде Силовые машины Поддержка компаний-учредителей</vt:lpstr>
      <vt:lpstr>  </vt:lpstr>
      <vt:lpstr>Линде Силовые машины Организация производственной площадки</vt:lpstr>
      <vt:lpstr>Линде Силовые машины Этапы производства СВТО</vt:lpstr>
      <vt:lpstr>Линде Силовые машины Изготовление сердечника</vt:lpstr>
      <vt:lpstr>Линде Силовые машины Производство – Навивочные работы</vt:lpstr>
      <vt:lpstr>Линде Силовые машины Производство – Навивочные работы</vt:lpstr>
      <vt:lpstr>Линде Силовые машины Производство – Навивочные работы</vt:lpstr>
      <vt:lpstr>Линде Силовые машины Производство – Финальная сборка</vt:lpstr>
      <vt:lpstr>Линде Силовые машины Производство - инспекция</vt:lpstr>
      <vt:lpstr>Линде Силовые машины Отгрузка СВТО</vt:lpstr>
      <vt:lpstr>Спасибо за внимание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st Headline. Second Headline.</dc:title>
  <dc:creator>Christoph Seeholzer</dc:creator>
  <cp:lastModifiedBy>Ekaterina Dolganova</cp:lastModifiedBy>
  <cp:revision>147</cp:revision>
  <cp:lastPrinted>2018-09-21T06:16:25Z</cp:lastPrinted>
  <dcterms:created xsi:type="dcterms:W3CDTF">2017-10-03T13:04:28Z</dcterms:created>
  <dcterms:modified xsi:type="dcterms:W3CDTF">2018-09-21T06:30:17Z</dcterms:modified>
</cp:coreProperties>
</file>